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3"/>
  </p:notesMasterIdLst>
  <p:handoutMasterIdLst>
    <p:handoutMasterId r:id="rId24"/>
  </p:handoutMasterIdLst>
  <p:sldIdLst>
    <p:sldId id="256" r:id="rId5"/>
    <p:sldId id="268" r:id="rId6"/>
    <p:sldId id="263" r:id="rId7"/>
    <p:sldId id="307" r:id="rId8"/>
    <p:sldId id="258" r:id="rId9"/>
    <p:sldId id="308" r:id="rId10"/>
    <p:sldId id="261" r:id="rId11"/>
    <p:sldId id="313" r:id="rId12"/>
    <p:sldId id="314" r:id="rId13"/>
    <p:sldId id="312" r:id="rId14"/>
    <p:sldId id="264" r:id="rId15"/>
    <p:sldId id="262" r:id="rId16"/>
    <p:sldId id="260" r:id="rId17"/>
    <p:sldId id="309" r:id="rId18"/>
    <p:sldId id="267" r:id="rId19"/>
    <p:sldId id="310" r:id="rId20"/>
    <p:sldId id="266" r:id="rId21"/>
    <p:sldId id="311" r:id="rId22"/>
  </p:sldIdLst>
  <p:sldSz cx="12192000" cy="6858000"/>
  <p:notesSz cx="6797675" cy="9926638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84" autoAdjust="0"/>
    <p:restoredTop sz="63525" autoAdjust="0"/>
  </p:normalViewPr>
  <p:slideViewPr>
    <p:cSldViewPr showGuides="1">
      <p:cViewPr varScale="1">
        <p:scale>
          <a:sx n="71" d="100"/>
          <a:sy n="71" d="100"/>
        </p:scale>
        <p:origin x="1494" y="60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2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2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06769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71600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37984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334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42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49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10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56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40176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3264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Themenstellung.pptx</a:t>
            </a: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</a:t>
            </a:r>
            <a:r>
              <a:rPr lang="de-DE" dirty="0" smtClean="0"/>
              <a:t>30</a:t>
            </a:r>
            <a:r>
              <a:rPr lang="de-DE" dirty="0" smtClean="0"/>
              <a:t>.11.2022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Verteiltes Rechnen mittels autonomen Fahrzeugsteuergerä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5" name="Grafik 7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016" y="2204864"/>
            <a:ext cx="5430252" cy="360040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760" y="4149080"/>
            <a:ext cx="1009696" cy="100969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302" y="3994111"/>
            <a:ext cx="945653" cy="945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684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D97F02-E037-4D13-ADF6-C271BE10B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6ACE34-F389-4C98-AD25-848E55158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513" y="1844824"/>
            <a:ext cx="4825097" cy="367240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„Handshake“ Prozess definieren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Leistungsbedarf</a:t>
            </a:r>
          </a:p>
          <a:p>
            <a:pPr lvl="3"/>
            <a:r>
              <a:rPr lang="de-DE" dirty="0"/>
              <a:t>Priorität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Maximale Leistungsabgabe</a:t>
            </a:r>
          </a:p>
          <a:p>
            <a:pPr lvl="3"/>
            <a:r>
              <a:rPr lang="de-DE" dirty="0"/>
              <a:t>Maximale Dauerleistung</a:t>
            </a:r>
          </a:p>
          <a:p>
            <a:pPr lvl="3"/>
            <a:r>
              <a:rPr lang="de-DE" dirty="0"/>
              <a:t>Effizienzkurve</a:t>
            </a:r>
          </a:p>
          <a:p>
            <a:pPr lvl="3"/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04638D3-3EE6-47EE-821C-638AC2172DFC}"/>
              </a:ext>
            </a:extLst>
          </p:cNvPr>
          <p:cNvSpPr txBox="1">
            <a:spLocks/>
          </p:cNvSpPr>
          <p:nvPr/>
        </p:nvSpPr>
        <p:spPr>
          <a:xfrm>
            <a:off x="6857896" y="1820686"/>
            <a:ext cx="4825097" cy="36965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8275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Informationsaustausch zur Laufzeit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Stromverbrauch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 smtClean="0"/>
              <a:t>Aktiv/Inaktiv</a:t>
            </a:r>
          </a:p>
          <a:p>
            <a:pPr lvl="3"/>
            <a:r>
              <a:rPr lang="de-DE" dirty="0" smtClean="0"/>
              <a:t>Fehlerstatus</a:t>
            </a:r>
            <a:endParaRPr lang="de-DE" dirty="0"/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ueller Strom</a:t>
            </a:r>
          </a:p>
          <a:p>
            <a:pPr lvl="3"/>
            <a:r>
              <a:rPr lang="de-DE" dirty="0" smtClean="0"/>
              <a:t>Aktiv/Inaktiv</a:t>
            </a:r>
          </a:p>
          <a:p>
            <a:pPr lvl="3"/>
            <a:r>
              <a:rPr lang="de-DE" dirty="0" smtClean="0"/>
              <a:t>Fehlerstatus</a:t>
            </a:r>
            <a:endParaRPr lang="de-DE" dirty="0"/>
          </a:p>
          <a:p>
            <a:pPr lvl="3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B560E6-627C-488C-9FD4-0933878C7540}"/>
              </a:ext>
            </a:extLst>
          </p:cNvPr>
          <p:cNvSpPr txBox="1"/>
          <p:nvPr/>
        </p:nvSpPr>
        <p:spPr>
          <a:xfrm>
            <a:off x="240164" y="732848"/>
            <a:ext cx="7237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2"/>
                </a:solidFill>
              </a:rPr>
              <a:t>Software: Definition </a:t>
            </a:r>
            <a:r>
              <a:rPr lang="de-DE" b="1" dirty="0">
                <a:solidFill>
                  <a:schemeClr val="bg2"/>
                </a:solidFill>
              </a:rPr>
              <a:t>der Kommunikation zwischen Komponent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DCC0EA-A612-41CB-B750-245A0C90D6CC}"/>
              </a:ext>
            </a:extLst>
          </p:cNvPr>
          <p:cNvSpPr/>
          <p:nvPr/>
        </p:nvSpPr>
        <p:spPr>
          <a:xfrm>
            <a:off x="618084" y="1556792"/>
            <a:ext cx="5063748" cy="46085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65535DD-BB45-42D3-BE66-C5F4498DE5F1}"/>
              </a:ext>
            </a:extLst>
          </p:cNvPr>
          <p:cNvSpPr/>
          <p:nvPr/>
        </p:nvSpPr>
        <p:spPr>
          <a:xfrm>
            <a:off x="6586925" y="1556792"/>
            <a:ext cx="5063748" cy="46085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0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277F89F-5F30-42F5-B3CB-33B8E0A28207}"/>
              </a:ext>
            </a:extLst>
          </p:cNvPr>
          <p:cNvSpPr/>
          <p:nvPr/>
        </p:nvSpPr>
        <p:spPr>
          <a:xfrm>
            <a:off x="4439815" y="4042891"/>
            <a:ext cx="5544617" cy="14401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8F4ACC7-40F2-4F49-9E42-03FA09E3AB1C}"/>
              </a:ext>
            </a:extLst>
          </p:cNvPr>
          <p:cNvSpPr/>
          <p:nvPr/>
        </p:nvSpPr>
        <p:spPr>
          <a:xfrm>
            <a:off x="4439816" y="1237476"/>
            <a:ext cx="5544617" cy="20882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de-DE" sz="1800" b="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7A8FCBB-0E4B-4062-8585-092176D9D3F8}"/>
              </a:ext>
            </a:extLst>
          </p:cNvPr>
          <p:cNvSpPr txBox="1"/>
          <p:nvPr/>
        </p:nvSpPr>
        <p:spPr>
          <a:xfrm>
            <a:off x="4726799" y="1344226"/>
            <a:ext cx="52565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Verbraucher und Quellen melden sich beim Zentralsteuergerät mit Energiebedarf/Leistung und Priorität an</a:t>
            </a:r>
          </a:p>
          <a:p>
            <a:endParaRPr lang="de-DE" sz="1400" dirty="0"/>
          </a:p>
          <a:p>
            <a:r>
              <a:rPr lang="de-DE" sz="1400" dirty="0"/>
              <a:t>Quellen melden sich mit Effizienzprofil beim Zentralsteuergerät an</a:t>
            </a:r>
          </a:p>
          <a:p>
            <a:endParaRPr lang="de-DE" sz="1400" dirty="0"/>
          </a:p>
          <a:p>
            <a:r>
              <a:rPr lang="de-DE" sz="1400" dirty="0"/>
              <a:t>Zentralsteuergerät warnt wenn nicht genug Energie zur Verfügung gestellt werden kann</a:t>
            </a:r>
          </a:p>
          <a:p>
            <a:endParaRPr lang="de-DE" sz="1400" dirty="0"/>
          </a:p>
          <a:p>
            <a:endParaRPr lang="LID4096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EA0A5F0-126D-4266-BCD7-C92538FA38D6}"/>
              </a:ext>
            </a:extLst>
          </p:cNvPr>
          <p:cNvSpPr txBox="1"/>
          <p:nvPr/>
        </p:nvSpPr>
        <p:spPr>
          <a:xfrm>
            <a:off x="4727849" y="4161894"/>
            <a:ext cx="52565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m Betrieb werden Lasten zwischen Quellen so verteilt dass die maximale Effizienz erreicht wird</a:t>
            </a:r>
          </a:p>
          <a:p>
            <a:endParaRPr lang="de-DE" sz="1400" dirty="0"/>
          </a:p>
          <a:p>
            <a:r>
              <a:rPr lang="de-DE" sz="1400" dirty="0"/>
              <a:t>Im Überlastung/Fehlerfall werden Verbraucher mit niedrigsten Prioritäten abgeschaltet</a:t>
            </a:r>
          </a:p>
          <a:p>
            <a:endParaRPr lang="LID4096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5E4FEE4-247E-4C3D-B6F4-0B9856A9984F}"/>
              </a:ext>
            </a:extLst>
          </p:cNvPr>
          <p:cNvSpPr txBox="1"/>
          <p:nvPr/>
        </p:nvSpPr>
        <p:spPr>
          <a:xfrm>
            <a:off x="982908" y="1758514"/>
            <a:ext cx="36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nschluss neuer Komponente/Start</a:t>
            </a:r>
            <a:endParaRPr lang="LID4096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5AFD970-FC9E-439D-8C1E-5D7E1FA574C6}"/>
              </a:ext>
            </a:extLst>
          </p:cNvPr>
          <p:cNvSpPr txBox="1"/>
          <p:nvPr/>
        </p:nvSpPr>
        <p:spPr>
          <a:xfrm>
            <a:off x="1343472" y="4578305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Im Betrieb</a:t>
            </a:r>
            <a:endParaRPr lang="LID4096" b="1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128578B-05C5-49B5-93BE-DE64FB9E88B8}"/>
              </a:ext>
            </a:extLst>
          </p:cNvPr>
          <p:cNvSpPr txBox="1"/>
          <p:nvPr/>
        </p:nvSpPr>
        <p:spPr>
          <a:xfrm>
            <a:off x="240164" y="732848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2"/>
                </a:solidFill>
              </a:rPr>
              <a:t>Software: Funktion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28E65867-5587-439B-AB75-6C785B96E2E4}"/>
              </a:ext>
            </a:extLst>
          </p:cNvPr>
          <p:cNvSpPr/>
          <p:nvPr/>
        </p:nvSpPr>
        <p:spPr>
          <a:xfrm>
            <a:off x="6852083" y="3397703"/>
            <a:ext cx="720080" cy="613891"/>
          </a:xfrm>
          <a:prstGeom prst="downArrow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8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</a:p>
        </p:txBody>
      </p:sp>
      <p:grpSp>
        <p:nvGrpSpPr>
          <p:cNvPr id="250" name="Gruppieren 249"/>
          <p:cNvGrpSpPr>
            <a:grpSpLocks noChangeAspect="1"/>
          </p:cNvGrpSpPr>
          <p:nvPr/>
        </p:nvGrpSpPr>
        <p:grpSpPr>
          <a:xfrm>
            <a:off x="3143672" y="3068960"/>
            <a:ext cx="8784000" cy="3263539"/>
            <a:chOff x="2519980" y="2676820"/>
            <a:chExt cx="9001822" cy="3344467"/>
          </a:xfrm>
        </p:grpSpPr>
        <p:grpSp>
          <p:nvGrpSpPr>
            <p:cNvPr id="71" name="Gruppieren 70"/>
            <p:cNvGrpSpPr>
              <a:grpSpLocks noChangeAspect="1"/>
            </p:cNvGrpSpPr>
            <p:nvPr/>
          </p:nvGrpSpPr>
          <p:grpSpPr>
            <a:xfrm>
              <a:off x="9264352" y="3645024"/>
              <a:ext cx="2257450" cy="2376263"/>
              <a:chOff x="8004212" y="1700808"/>
              <a:chExt cx="2815863" cy="2880320"/>
            </a:xfrm>
          </p:grpSpPr>
          <p:sp>
            <p:nvSpPr>
              <p:cNvPr id="4" name="Rechteck 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" name="Gruppieren 17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Ellipse 15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Textfeld 16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30" name="Gruppieren 29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" name="Rechteck 18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1" name="Gerader Verbinder 20"/>
                <p:cNvCxnSpPr>
                  <a:stCxn id="19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>
                  <a:stCxn id="19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" name="Gruppieren 30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2" name="Ellipse 31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Textfeld 32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35" name="Gerader Verbinder 34"/>
              <p:cNvCxnSpPr>
                <a:stCxn id="16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>
                <a:endCxn id="17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/>
              <p:cNvCxnSpPr>
                <a:stCxn id="19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Ellipse 63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69" name="Rechteck 68"/>
              <p:cNvSpPr/>
              <p:nvPr/>
            </p:nvSpPr>
            <p:spPr>
              <a:xfrm rot="5400000">
                <a:off x="10075870" y="3842513"/>
                <a:ext cx="862678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1" name="Gruppieren 150"/>
            <p:cNvGrpSpPr>
              <a:grpSpLocks noChangeAspect="1"/>
            </p:cNvGrpSpPr>
            <p:nvPr/>
          </p:nvGrpSpPr>
          <p:grpSpPr>
            <a:xfrm>
              <a:off x="7016045" y="3645024"/>
              <a:ext cx="2257450" cy="2376263"/>
              <a:chOff x="8004212" y="1700808"/>
              <a:chExt cx="2815863" cy="2880320"/>
            </a:xfrm>
          </p:grpSpPr>
          <p:sp>
            <p:nvSpPr>
              <p:cNvPr id="152" name="Rechteck 151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Rechteck 152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54" name="Gruppieren 153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5" name="Ellipse 17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Textfeld 175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55" name="Gruppieren 154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71" name="Rechteck 170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2" name="Gerader Verbinder 171"/>
                <p:cNvCxnSpPr>
                  <a:stCxn id="171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Gerader Verbinder 17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Gerader Verbinder 173"/>
                <p:cNvCxnSpPr>
                  <a:stCxn id="171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6" name="Gruppieren 155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9" name="Ellipse 168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Textfeld 169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57" name="Gerader Verbinder 156"/>
              <p:cNvCxnSpPr>
                <a:stCxn id="175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r Verbinder 15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r Verbinder 158"/>
              <p:cNvCxnSpPr>
                <a:endCxn id="176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r Verbinder 159"/>
              <p:cNvCxnSpPr>
                <a:stCxn id="171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r Verbinder 160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r Verbinder 163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Ellipse 164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Ellipse 1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hteck 166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68" name="Rechteck 167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uppieren 176"/>
            <p:cNvGrpSpPr>
              <a:grpSpLocks noChangeAspect="1"/>
            </p:cNvGrpSpPr>
            <p:nvPr/>
          </p:nvGrpSpPr>
          <p:grpSpPr>
            <a:xfrm>
              <a:off x="4767201" y="3645024"/>
              <a:ext cx="2257450" cy="2376263"/>
              <a:chOff x="8004212" y="1700808"/>
              <a:chExt cx="2815863" cy="2880320"/>
            </a:xfrm>
          </p:grpSpPr>
          <p:sp>
            <p:nvSpPr>
              <p:cNvPr id="178" name="Rechteck 177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Rechteck 17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0" name="Gruppieren 179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01" name="Ellipse 20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Textfeld 201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81" name="Gruppieren 180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7" name="Rechteck 196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98" name="Gerader Verbinder 197"/>
                <p:cNvCxnSpPr>
                  <a:stCxn id="197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Gerader Verbinder 198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Gerader Verbinder 199"/>
                <p:cNvCxnSpPr>
                  <a:stCxn id="197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uppieren 181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95" name="Ellipse 19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Textfeld 195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83" name="Gerader Verbinder 182"/>
              <p:cNvCxnSpPr>
                <a:stCxn id="201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Gerader Verbinder 183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Gerader Verbinder 184"/>
              <p:cNvCxnSpPr>
                <a:endCxn id="202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r Verbinder 185"/>
              <p:cNvCxnSpPr>
                <a:stCxn id="197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r Verbinder 186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r Verbinder 187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r Verbinder 188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r Verbinder 189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Ellipse 190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Ellipse 191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Rechteck 192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94" name="Rechteck 193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3" name="Gruppieren 202"/>
            <p:cNvGrpSpPr>
              <a:grpSpLocks noChangeAspect="1"/>
            </p:cNvGrpSpPr>
            <p:nvPr/>
          </p:nvGrpSpPr>
          <p:grpSpPr>
            <a:xfrm>
              <a:off x="2519980" y="3645024"/>
              <a:ext cx="2257450" cy="2376263"/>
              <a:chOff x="8004212" y="1700808"/>
              <a:chExt cx="2815863" cy="2880320"/>
            </a:xfrm>
          </p:grpSpPr>
          <p:sp>
            <p:nvSpPr>
              <p:cNvPr id="204" name="Rechteck 20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eck 204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206" name="Gruppieren 205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7" name="Ellipse 226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Textfeld 227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207" name="Gruppieren 206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223" name="Rechteck 222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24" name="Gerader Verbinder 223"/>
                <p:cNvCxnSpPr>
                  <a:stCxn id="223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Gerader Verbinder 224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Gerader Verbinder 225"/>
                <p:cNvCxnSpPr>
                  <a:stCxn id="223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8" name="Gruppieren 207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1" name="Ellipse 22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2" name="Textfeld 221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209" name="Gerader Verbinder 208"/>
              <p:cNvCxnSpPr>
                <a:stCxn id="227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Gerader Verbinder 209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Gerader Verbinder 210"/>
              <p:cNvCxnSpPr>
                <a:endCxn id="228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Gerader Verbinder 211"/>
              <p:cNvCxnSpPr>
                <a:stCxn id="223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Gerader Verbinder 212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Gerader Verbinder 213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r Verbinder 214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r Verbinder 215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7" name="Ellipse 216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Ellipse 217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Rechteck 218"/>
              <p:cNvSpPr/>
              <p:nvPr/>
            </p:nvSpPr>
            <p:spPr>
              <a:xfrm rot="16200000">
                <a:off x="7866004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220" name="Rechteck 219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 smtClean="0">
                    <a:solidFill>
                      <a:schemeClr val="bg1"/>
                    </a:solidFill>
                  </a:rPr>
                  <a:t>Stecker</a:t>
                </a:r>
                <a:endParaRPr lang="de-DE" sz="1100" dirty="0">
                  <a:solidFill>
                    <a:schemeClr val="bg1"/>
                  </a:solidFill>
                </a:endParaRP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7" name="Gruppieren 236"/>
            <p:cNvGrpSpPr/>
            <p:nvPr/>
          </p:nvGrpSpPr>
          <p:grpSpPr>
            <a:xfrm>
              <a:off x="9609356" y="2676820"/>
              <a:ext cx="1561387" cy="1002672"/>
              <a:chOff x="9609356" y="2676820"/>
              <a:chExt cx="1561387" cy="1002672"/>
            </a:xfrm>
          </p:grpSpPr>
          <p:sp>
            <p:nvSpPr>
              <p:cNvPr id="229" name="Rechteck 22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30" name="Gerader Verbinder 22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r Verbinder 231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uppieren 237"/>
            <p:cNvGrpSpPr/>
            <p:nvPr/>
          </p:nvGrpSpPr>
          <p:grpSpPr>
            <a:xfrm>
              <a:off x="7361049" y="2676820"/>
              <a:ext cx="1561387" cy="1002672"/>
              <a:chOff x="9609356" y="2676820"/>
              <a:chExt cx="1561387" cy="1002672"/>
            </a:xfrm>
          </p:grpSpPr>
          <p:sp>
            <p:nvSpPr>
              <p:cNvPr id="239" name="Rechteck 23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0" name="Gerader Verbinder 23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Gerader Verbinder 240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uppieren 241"/>
            <p:cNvGrpSpPr/>
            <p:nvPr/>
          </p:nvGrpSpPr>
          <p:grpSpPr>
            <a:xfrm>
              <a:off x="5112742" y="2676820"/>
              <a:ext cx="1561387" cy="1002672"/>
              <a:chOff x="9609356" y="2676820"/>
              <a:chExt cx="1561387" cy="1002672"/>
            </a:xfrm>
          </p:grpSpPr>
          <p:sp>
            <p:nvSpPr>
              <p:cNvPr id="243" name="Rechteck 242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4" name="Gerader Verbinder 243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Gerader Verbinder 244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6" name="Gruppieren 245"/>
            <p:cNvGrpSpPr/>
            <p:nvPr/>
          </p:nvGrpSpPr>
          <p:grpSpPr>
            <a:xfrm>
              <a:off x="2904213" y="2714488"/>
              <a:ext cx="1561387" cy="1002672"/>
              <a:chOff x="9609356" y="2676820"/>
              <a:chExt cx="1561387" cy="1002672"/>
            </a:xfrm>
          </p:grpSpPr>
          <p:sp>
            <p:nvSpPr>
              <p:cNvPr id="247" name="Rechteck 246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8" name="Gerader Verbinder 247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Gerader Verbinder 248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D2325C6D-3D3C-44C1-A35C-B7FB975B5CE7}"/>
              </a:ext>
            </a:extLst>
          </p:cNvPr>
          <p:cNvSpPr txBox="1"/>
          <p:nvPr/>
        </p:nvSpPr>
        <p:spPr>
          <a:xfrm>
            <a:off x="553860" y="1227607"/>
            <a:ext cx="517962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annung und Strommessung in jedem Ka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anäle einzeln abschalt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 Stecksystem modular erweiterbar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9C2949A5-6A5A-4353-8E10-5599F7E3DBBB}"/>
              </a:ext>
            </a:extLst>
          </p:cNvPr>
          <p:cNvSpPr txBox="1"/>
          <p:nvPr/>
        </p:nvSpPr>
        <p:spPr>
          <a:xfrm>
            <a:off x="5939463" y="1227607"/>
            <a:ext cx="549605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nelle Kurzschlusserkennung mit FP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 über </a:t>
            </a:r>
            <a:r>
              <a:rPr lang="de-DE" dirty="0" err="1"/>
              <a:t>BroadR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Ether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altung der Kanäle durch MOSFET Scha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2FBB73E7-572F-4A39-BDFA-52312C4B89D8}"/>
              </a:ext>
            </a:extLst>
          </p:cNvPr>
          <p:cNvSpPr txBox="1"/>
          <p:nvPr/>
        </p:nvSpPr>
        <p:spPr>
          <a:xfrm>
            <a:off x="240164" y="732848"/>
            <a:ext cx="2967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Hardware: modulare PDU</a:t>
            </a:r>
            <a:endParaRPr lang="LID4096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91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705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A33089-FC77-496D-80A0-75D4194322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Aktuelle Phase</a:t>
            </a:r>
            <a:r>
              <a:rPr lang="de-DE" dirty="0"/>
              <a:t>: Orientierung/Einarbeitung</a:t>
            </a:r>
          </a:p>
          <a:p>
            <a:endParaRPr lang="de-DE" dirty="0"/>
          </a:p>
          <a:p>
            <a:r>
              <a:rPr lang="de-DE" b="1" dirty="0"/>
              <a:t>Nächste Schritte: </a:t>
            </a:r>
          </a:p>
          <a:p>
            <a:pPr lvl="1"/>
            <a:r>
              <a:rPr lang="de-DE" dirty="0"/>
              <a:t>Entwicklung der Software in Simulationsumgebung, Simulation von Energiemanagement und Fehlerfälle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Mögliche einfache Hardwareaufbau mit Hilfe bestehende PDU Komponenten und Raspberry Pi PC-s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chaltungs- und Layoutentwurf für eine modulare PDU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estaufbau mit modularen PDU-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769829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638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öglichkeit über Ford Alliance inhaltliche Schnittpunkte zu finden</a:t>
            </a:r>
          </a:p>
          <a:p>
            <a:endParaRPr lang="de-DE" dirty="0"/>
          </a:p>
          <a:p>
            <a:r>
              <a:rPr lang="de-DE" dirty="0"/>
              <a:t>Möglichkeit im Rahmen andere Bordnetzprojekte mitfinanziert zu werden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Gergely Bilkei-Gorzo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+49 241 80 25631</a:t>
            </a:r>
          </a:p>
          <a:p>
            <a:r>
              <a:rPr lang="de-DE" dirty="0"/>
              <a:t>+49 241 80 </a:t>
            </a:r>
            <a:r>
              <a:rPr lang="de-DE" dirty="0" smtClean="0"/>
              <a:t>22147</a:t>
            </a:r>
          </a:p>
          <a:p>
            <a:endParaRPr lang="de-DE" dirty="0"/>
          </a:p>
          <a:p>
            <a:r>
              <a:rPr lang="de-DE" dirty="0"/>
              <a:t>g</a:t>
            </a:r>
            <a:r>
              <a:rPr lang="de-DE" dirty="0" smtClean="0"/>
              <a:t>ergely.bilkei-gorzo@ika.rwth-aachen.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3443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91064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 smtClean="0"/>
              <a:t>M.Sc</a:t>
            </a:r>
            <a:r>
              <a:rPr lang="de-DE" sz="1400" dirty="0" smtClean="0"/>
              <a:t>. </a:t>
            </a:r>
            <a:r>
              <a:rPr lang="de-DE" sz="1400" dirty="0"/>
              <a:t>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5400" y="458112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3451" y="4581128"/>
            <a:ext cx="561662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/>
              <a:t>UNICARagil</a:t>
            </a:r>
            <a:r>
              <a:rPr lang="de-DE" sz="1600" dirty="0"/>
              <a:t>:</a:t>
            </a:r>
            <a:r>
              <a:rPr lang="de-DE" sz="1600" dirty="0" smtClean="0"/>
              <a:t> Softwareentw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CS </a:t>
            </a:r>
            <a:r>
              <a:rPr lang="de-DE" sz="1600" dirty="0" err="1" smtClean="0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GKN: Support für Steuergeräteentwicklung, Hardware Tests.</a:t>
            </a:r>
          </a:p>
          <a:p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SPT: </a:t>
            </a:r>
            <a:r>
              <a:rPr lang="de-DE" sz="1600" dirty="0" err="1" smtClean="0"/>
              <a:t>Steer-by-Wire</a:t>
            </a:r>
            <a:r>
              <a:rPr lang="de-DE" sz="1600" dirty="0" smtClean="0"/>
              <a:t> Softwareentwicklung</a:t>
            </a:r>
            <a:endParaRPr lang="LID4096" sz="1600" dirty="0"/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44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Fahr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</a:t>
            </a:r>
            <a:r>
              <a:rPr lang="de-DE" b="1" dirty="0" smtClean="0"/>
              <a:t>: </a:t>
            </a:r>
            <a:r>
              <a:rPr lang="de-DE" dirty="0" smtClean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b="1" dirty="0" smtClean="0"/>
              <a:t>Defizit: </a:t>
            </a:r>
            <a:r>
              <a:rPr lang="de-DE" dirty="0" smtClean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</a:t>
            </a:r>
            <a:r>
              <a:rPr lang="de-DE" b="1" dirty="0" smtClean="0"/>
              <a:t>: </a:t>
            </a:r>
            <a:r>
              <a:rPr lang="de-DE" dirty="0" smtClean="0"/>
              <a:t>Ermöglichung Rechenaufgaben von extern auf </a:t>
            </a:r>
            <a:r>
              <a:rPr lang="de-DE" dirty="0" smtClean="0"/>
              <a:t>Fahrzeugsteuergeräten auszuführen, so dass lokal nicht benötigte </a:t>
            </a:r>
            <a:r>
              <a:rPr lang="de-DE" dirty="0" err="1" smtClean="0"/>
              <a:t>Rechenresourcen</a:t>
            </a:r>
            <a:r>
              <a:rPr lang="de-DE" dirty="0" smtClean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</a:t>
            </a:r>
            <a:r>
              <a:rPr lang="de-DE" b="1" dirty="0" smtClean="0"/>
              <a:t>: </a:t>
            </a:r>
            <a:r>
              <a:rPr lang="de-DE" dirty="0" smtClean="0"/>
              <a:t>Entwicklung einer Softwareplattform, welcher ermöglicht Applikationen über Netzwerk in Steuergeräte zu laden und auszuführen.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2"/>
                </a:solidFill>
              </a:rPr>
              <a:t>Quelle: </a:t>
            </a:r>
            <a:r>
              <a:rPr lang="de-DE" sz="1400" dirty="0" err="1" smtClean="0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2"/>
                </a:solidFill>
              </a:rPr>
              <a:t>Quelle: Medium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10244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1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8" name="Rechteck 77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3" name="Tabel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28071"/>
              </p:ext>
            </p:extLst>
          </p:nvPr>
        </p:nvGraphicFramePr>
        <p:xfrm>
          <a:off x="2351584" y="2290275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Bezeichn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eist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Einsatzbereich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Qualcomm Cloud</a:t>
                      </a:r>
                      <a:r>
                        <a:rPr lang="de-DE" baseline="0" dirty="0" smtClean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00 TOP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Cloud-Serv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Nvidia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Jetson</a:t>
                      </a:r>
                      <a:r>
                        <a:rPr lang="de-DE" dirty="0" smtClean="0"/>
                        <a:t> AGX </a:t>
                      </a:r>
                      <a:r>
                        <a:rPr lang="de-DE" dirty="0" err="1" smtClean="0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75 TOP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Cloud-Server / Fahrzeug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080 TOP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5 Fahrzeug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34" name="Textfeld 33"/>
          <p:cNvSpPr txBox="1"/>
          <p:nvPr/>
        </p:nvSpPr>
        <p:spPr>
          <a:xfrm>
            <a:off x="839416" y="1628800"/>
            <a:ext cx="53272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eistungsvergleich Hardware für AI Applikationen: 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623392" y="4867291"/>
            <a:ext cx="90730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Rechenleistung von Autonomen Fahrzeugen für </a:t>
            </a:r>
            <a:r>
              <a:rPr lang="de-DE" dirty="0" err="1" smtClean="0"/>
              <a:t>Machine</a:t>
            </a:r>
            <a:r>
              <a:rPr lang="de-DE" dirty="0" smtClean="0"/>
              <a:t> Learning vergleichbar mit mehreren Rechenmodulen  in Cloud-Server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grpSp>
        <p:nvGrpSpPr>
          <p:cNvPr id="50" name="Gruppieren 49"/>
          <p:cNvGrpSpPr>
            <a:grpSpLocks noChangeAspect="1"/>
          </p:cNvGrpSpPr>
          <p:nvPr/>
        </p:nvGrpSpPr>
        <p:grpSpPr>
          <a:xfrm>
            <a:off x="583996" y="3451229"/>
            <a:ext cx="4828298" cy="2748455"/>
            <a:chOff x="6444976" y="3026147"/>
            <a:chExt cx="5531263" cy="3148610"/>
          </a:xfrm>
        </p:grpSpPr>
        <p:grpSp>
          <p:nvGrpSpPr>
            <p:cNvPr id="40" name="Gruppieren 3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94" name="Gruppieren 93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55" name="Grafik 54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6" name="Grafik 55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57" name="Grafik 5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8" name="Grafik 5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9" name="Grafik 5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60" name="Grafik 59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62" name="Gerader Verbinder 61"/>
                <p:cNvCxnSpPr>
                  <a:endCxn id="56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r Verbinder 62"/>
                <p:cNvCxnSpPr>
                  <a:endCxn id="55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Gerader Verbinder 76"/>
                <p:cNvCxnSpPr>
                  <a:endCxn id="57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Gerader Verbinder 77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Gerader Verbinder 78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Gerader Verbinder 79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81" name="Grafik 80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95" name="Grafik 94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98" name="Gerader Verbinder 97"/>
              <p:cNvCxnSpPr>
                <a:stCxn id="81" idx="1"/>
                <a:endCxn id="95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feld 98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Cloud</a:t>
              </a:r>
              <a:endParaRPr lang="de-DE" dirty="0"/>
            </a:p>
          </p:txBody>
        </p:sp>
        <p:sp>
          <p:nvSpPr>
            <p:cNvPr id="101" name="Textfeld 100"/>
            <p:cNvSpPr txBox="1"/>
            <p:nvPr/>
          </p:nvSpPr>
          <p:spPr>
            <a:xfrm>
              <a:off x="6637404" y="3026147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Benutzer</a:t>
              </a:r>
              <a:endParaRPr lang="de-DE" dirty="0"/>
            </a:p>
          </p:txBody>
        </p:sp>
      </p:grpSp>
      <p:grpSp>
        <p:nvGrpSpPr>
          <p:cNvPr id="48" name="Gruppieren 47"/>
          <p:cNvGrpSpPr>
            <a:grpSpLocks noChangeAspect="1"/>
          </p:cNvGrpSpPr>
          <p:nvPr/>
        </p:nvGrpSpPr>
        <p:grpSpPr>
          <a:xfrm>
            <a:off x="6053568" y="3285018"/>
            <a:ext cx="5411570" cy="2914665"/>
            <a:chOff x="186366" y="3034615"/>
            <a:chExt cx="5830208" cy="3140143"/>
          </a:xfrm>
        </p:grpSpPr>
        <p:grpSp>
          <p:nvGrpSpPr>
            <p:cNvPr id="46" name="Gruppieren 45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10" name="Grafik 9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76" name="Gruppieren 7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9" name="Grafik 8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24" name="Grafik 2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5" name="Grafik 24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26" name="Grafik 25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7" name="Grafik 2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8" name="Grafik 27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30" name="Grafik 29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31" name="Gerader Verbinder 30"/>
                <p:cNvCxnSpPr>
                  <a:endCxn id="25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Gerader Verbinder 33"/>
                <p:cNvCxnSpPr>
                  <a:endCxn id="24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r Verbinder 37"/>
                <p:cNvCxnSpPr>
                  <a:endCxn id="26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Gerader Verbinder 40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Gerader Verbinder 41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Gerader Verbinder 42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45" name="Gerader Verbinder 44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96" name="Gerader Verbinder 95"/>
              <p:cNvCxnSpPr>
                <a:stCxn id="10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r Verbinder 96"/>
              <p:cNvCxnSpPr>
                <a:stCxn id="10" idx="3"/>
                <a:endCxn id="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" name="Textfeld 46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Cloud</a:t>
              </a:r>
              <a:endParaRPr lang="de-DE" dirty="0"/>
            </a:p>
          </p:txBody>
        </p:sp>
        <p:sp>
          <p:nvSpPr>
            <p:cNvPr id="100" name="Textfeld 99"/>
            <p:cNvSpPr txBox="1"/>
            <p:nvPr/>
          </p:nvSpPr>
          <p:spPr>
            <a:xfrm>
              <a:off x="2430123" y="4562457"/>
              <a:ext cx="1467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Edge Server</a:t>
              </a:r>
              <a:endParaRPr lang="de-DE" dirty="0"/>
            </a:p>
          </p:txBody>
        </p:sp>
        <p:sp>
          <p:nvSpPr>
            <p:cNvPr id="102" name="Textfeld 101"/>
            <p:cNvSpPr txBox="1"/>
            <p:nvPr/>
          </p:nvSpPr>
          <p:spPr>
            <a:xfrm>
              <a:off x="186366" y="3500899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Benutzer</a:t>
              </a:r>
              <a:endParaRPr lang="de-DE" dirty="0"/>
            </a:p>
          </p:txBody>
        </p:sp>
      </p:grpSp>
      <p:sp>
        <p:nvSpPr>
          <p:cNvPr id="51" name="Textfeld 50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Edge Netzwer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ndpunkte verbinden sich mit örtlich lokalem Edge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Kommunikation zur Cloud über Edge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Reduzierte Latenz und Bandbreitenverbrauch im Edge </a:t>
            </a:r>
            <a:r>
              <a:rPr lang="de-DE" dirty="0" err="1" smtClean="0"/>
              <a:t>netzwerk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Höhere Verwaltungskomplexität im Vergleich zur Cloud Ansatz</a:t>
            </a:r>
            <a:endParaRPr lang="de-DE" dirty="0"/>
          </a:p>
        </p:txBody>
      </p:sp>
      <p:sp>
        <p:nvSpPr>
          <p:cNvPr id="103" name="Textfeld 102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Cloud Netzwer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lle Endpunkte verbinden sich direkt mit Cloud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ine zentrale Verwal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kalierbarkeit begrenzt durch Bandbreite und Latenz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954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739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611</Words>
  <Application>Microsoft Office PowerPoint</Application>
  <PresentationFormat>Breitbild</PresentationFormat>
  <Paragraphs>200</Paragraphs>
  <Slides>18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6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Verteiltes Rechnen mittels autonomen Fahrzeugsteuergeräten</vt:lpstr>
      <vt:lpstr>Inhalt</vt:lpstr>
      <vt:lpstr>Informationen zur Person</vt:lpstr>
      <vt:lpstr>Inhalt</vt:lpstr>
      <vt:lpstr>Einleitung</vt:lpstr>
      <vt:lpstr>Inhalt</vt:lpstr>
      <vt:lpstr>PowerPoint-Präsentation</vt:lpstr>
      <vt:lpstr>PowerPoint-Präsentation</vt:lpstr>
      <vt:lpstr>PowerPoint-Präsentation</vt:lpstr>
      <vt:lpstr>PowerPoint-Präsentation</vt:lpstr>
      <vt:lpstr>Modulare Energieverteilung im Bordnetz</vt:lpstr>
      <vt:lpstr>Modulare Energieverteilung im Bordnetz</vt:lpstr>
      <vt:lpstr>Modulare Energieverteilung im Bordnetz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376</cp:revision>
  <cp:lastPrinted>2018-07-30T12:07:50Z</cp:lastPrinted>
  <dcterms:created xsi:type="dcterms:W3CDTF">2018-06-17T18:22:58Z</dcterms:created>
  <dcterms:modified xsi:type="dcterms:W3CDTF">2022-11-25T15:00:15Z</dcterms:modified>
  <cp:contentStatus/>
</cp:coreProperties>
</file>